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9" autoAdjust="0"/>
    <p:restoredTop sz="94660"/>
  </p:normalViewPr>
  <p:slideViewPr>
    <p:cSldViewPr snapToGrid="0">
      <p:cViewPr>
        <p:scale>
          <a:sx n="80" d="100"/>
          <a:sy n="80" d="100"/>
        </p:scale>
        <p:origin x="444" y="22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940047961630695E-2"/>
          <c:y val="1.7496635262449527E-2"/>
          <c:w val="0.95011990407673863"/>
          <c:h val="0.9650067294751009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9200000</c:v>
                </c:pt>
                <c:pt idx="1">
                  <c:v>5700000</c:v>
                </c:pt>
                <c:pt idx="2">
                  <c:v>2700000</c:v>
                </c:pt>
                <c:pt idx="3">
                  <c:v>2200000</c:v>
                </c:pt>
                <c:pt idx="4">
                  <c:v>1500000</c:v>
                </c:pt>
                <c:pt idx="5">
                  <c:v>750000</c:v>
                </c:pt>
                <c:pt idx="6">
                  <c:v>220000</c:v>
                </c:pt>
                <c:pt idx="7">
                  <c:v>95000</c:v>
                </c:pt>
                <c:pt idx="8">
                  <c:v>6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9F-441D-B386-172F10D1C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40609935"/>
        <c:axId val="1"/>
      </c:barChart>
      <c:catAx>
        <c:axId val="7406099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200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406099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459425717852687E-2"/>
          <c:y val="1.7496635262449527E-2"/>
          <c:w val="0.93508114856429458"/>
          <c:h val="0.9650067294751009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8"/>
              <c:layout>
                <c:manualLayout>
                  <c:x val="4.6192259675405745E-2"/>
                  <c:y val="6.729475100942126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F7B-4DD4-92A1-B6845183E7E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26000</c:v>
                </c:pt>
                <c:pt idx="1">
                  <c:v>55000</c:v>
                </c:pt>
                <c:pt idx="2">
                  <c:v>0</c:v>
                </c:pt>
                <c:pt idx="3">
                  <c:v>6200</c:v>
                </c:pt>
                <c:pt idx="4">
                  <c:v>14000</c:v>
                </c:pt>
                <c:pt idx="6">
                  <c:v>1200</c:v>
                </c:pt>
                <c:pt idx="7">
                  <c:v>1500</c:v>
                </c:pt>
                <c:pt idx="8">
                  <c:v>9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7B-4DD4-92A1-B6845183E7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40606575"/>
        <c:axId val="1"/>
      </c:barChart>
      <c:catAx>
        <c:axId val="74060657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7406065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940047961630695E-2"/>
          <c:y val="1.379676306712656E-2"/>
          <c:w val="0.95011990407673863"/>
          <c:h val="0.9724064738657468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P$1</c:f>
              <c:numCache>
                <c:formatCode>General</c:formatCode>
                <c:ptCount val="16"/>
                <c:pt idx="0">
                  <c:v>21000000</c:v>
                </c:pt>
                <c:pt idx="1">
                  <c:v>19000000</c:v>
                </c:pt>
                <c:pt idx="2">
                  <c:v>9800000</c:v>
                </c:pt>
                <c:pt idx="3">
                  <c:v>7300000</c:v>
                </c:pt>
                <c:pt idx="4">
                  <c:v>5100000</c:v>
                </c:pt>
                <c:pt idx="5">
                  <c:v>3000000</c:v>
                </c:pt>
                <c:pt idx="6">
                  <c:v>2900000</c:v>
                </c:pt>
                <c:pt idx="7">
                  <c:v>2700000</c:v>
                </c:pt>
                <c:pt idx="8">
                  <c:v>1700000</c:v>
                </c:pt>
                <c:pt idx="9">
                  <c:v>1300000</c:v>
                </c:pt>
                <c:pt idx="10">
                  <c:v>1200000</c:v>
                </c:pt>
                <c:pt idx="11">
                  <c:v>1000000</c:v>
                </c:pt>
                <c:pt idx="12">
                  <c:v>880000</c:v>
                </c:pt>
                <c:pt idx="13">
                  <c:v>700000</c:v>
                </c:pt>
                <c:pt idx="14">
                  <c:v>500000</c:v>
                </c:pt>
                <c:pt idx="15">
                  <c:v>138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5A-434C-A1E5-057403D712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426194239"/>
        <c:axId val="1"/>
      </c:barChart>
      <c:catAx>
        <c:axId val="142619423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10000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261942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76821-0875-C0AE-0C12-0DD8F5F31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3F6CDC-06D6-0D4C-5A43-862979AD0B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156547-0CB1-53B5-7488-AAF980E240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C5E0F1-5081-91AC-1520-9BA881912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C5E8AE-E678-F1E1-56AE-146E48FF78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7910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376B1-3BB9-8585-5C15-EA79CF780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C35EB42-2AD7-D81C-8FFB-17B3528059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8897B3-5DC5-B691-6AF9-E26E6E12F5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0C99B-A326-1A25-5D36-E0D601D2E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3ADAA2-503F-C20E-3AAE-30904DCA11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387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96C5548-32A1-E92C-BAC1-08D41072B4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AB2B11F-B47A-199F-23AC-D16F138B48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B8B8B4-80D0-39C4-C6D5-B60D80C43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5CD84F-339C-9C29-77C4-0B78790EAB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D0944C-CF0C-FDDA-634C-B55DB28337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75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FEBE8-C16D-4AB6-0898-443157BCE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278933-3BB5-1C0A-D279-03EC5254F0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A05BF-EB84-539D-C686-AB5D817F60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25C39-5545-5665-0620-5796635BD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3BE6DD-C2F3-864A-F202-F5BEE1E7F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847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F2A2F-BCAE-7603-83FA-756E6D27F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1B5C38-0FA0-5BC6-3294-7A92840033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36439A-2B9E-D40B-3EA5-430F230D5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418904-BB17-C3FD-69EC-4BEB3CBDA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32B420-AEDF-345A-DEBC-1028409E62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97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DC371-B002-4106-DE31-AE845E598A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92835D-980B-EE89-288D-CD62DC8076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0BCBCCD-1F96-D3D8-7DBF-196DF62764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16B6FD1-CF7D-727F-D01D-76F99B0368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2E14EE-AA5D-7730-4DED-CA7AA0F96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BA0ECB-EB5E-A2DC-F0FE-0F14D1A974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617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4E6AD1-D190-247F-B4F1-EC5FFFA2A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71E0FB-E4CF-5C52-B762-743FA53143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20FC94-8778-F482-CDA1-73AF7905B7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768D31-171D-4D84-954F-31564D6A91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F00B83E-9B6A-2B77-E0D6-5251D6B0A47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2EDBF3D-2328-6BFD-0D1B-42CC9D8D3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C3FAD2-AC85-E246-7691-B50D76CE1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0D9DBB-5056-5387-9975-92BA80F8F4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4752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65CFF-9086-55DD-6690-15EB1CD83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4CA011-1454-F16A-475A-F4F94F3B8E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388DDC-4C5A-78AF-F7C7-588976E0E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3066E2-33D0-2035-099D-D82F54D1A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7739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0784B1-A364-95D4-8E43-3F5DD9E22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E5EE14-90BA-BC65-DA35-4DB565039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D5C638-814F-5ECB-4CB4-9679A612A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2332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FEBD8-411A-0036-CB63-3972061870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E8ABF6-3314-469D-4FF2-09E45D64FB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2DBDA3-2449-4BA0-AD6A-FAE9BCFB59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EBF9AF5-A2BF-5BAF-288E-1C224CFED0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68FFD2-097E-6ABF-AD67-4583FB0645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782703-9170-4F39-04A1-6CD71636E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8024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31405-BCE1-FDBA-4C7F-39DB20D3B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AE977BF-311A-0D79-19BB-3A9A3368AF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B98342-465E-136A-0E27-671234236B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D20586-A964-26D3-469E-89E86CBC25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44CCAA-D52C-AB19-4F95-D3E8AA38F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E463E1-F185-8BDB-1C44-E9B7E7CE1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520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80DC41E-24EF-0910-9CCF-EF21C86528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09025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336" imgH="336" progId="TCLayout.ActiveDocument.1">
                  <p:embed/>
                </p:oleObj>
              </mc:Choice>
              <mc:Fallback>
                <p:oleObj name="think-cell Slide" r:id="rId15" imgW="336" imgH="33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80DC41E-24EF-0910-9CCF-EF21C86528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CEE79CF-1F68-B736-71CB-2F2B9325F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77BC89-8730-BEC9-0222-1E64E8BDE5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288C43-90A1-49DF-81B2-451322DDA0FD}" type="datetimeFigureOut">
              <a:rPr lang="en-US" smtClean="0"/>
              <a:t>5/31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F87386-30D1-BA8B-A2CB-951C4B8CED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DF11DC-5512-233A-062F-26562CDEF8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16AF20-0C93-4AF6-9432-991F1D60C78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8B710BE-EB4A-7640-7A75-22BB7730643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11676063" y="0"/>
            <a:ext cx="544512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OFFICIAL]</a:t>
            </a:r>
          </a:p>
        </p:txBody>
      </p:sp>
    </p:spTree>
    <p:extLst>
      <p:ext uri="{BB962C8B-B14F-4D97-AF65-F5344CB8AC3E}">
        <p14:creationId xmlns:p14="http://schemas.microsoft.com/office/powerpoint/2010/main" val="684265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16" Type="http://schemas.openxmlformats.org/officeDocument/2006/relationships/tags" Target="../tags/tag1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74" Type="http://schemas.openxmlformats.org/officeDocument/2006/relationships/tags" Target="../tags/tag75.xml"/><Relationship Id="rId79" Type="http://schemas.openxmlformats.org/officeDocument/2006/relationships/chart" Target="../charts/chart2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77" Type="http://schemas.openxmlformats.org/officeDocument/2006/relationships/image" Target="../media/image1.emf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80" Type="http://schemas.openxmlformats.org/officeDocument/2006/relationships/chart" Target="../charts/chart3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chart" Target="../charts/chart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oleObject" Target="../embeddings/oleObject2.bin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2" Type="http://schemas.openxmlformats.org/officeDocument/2006/relationships/tags" Target="../tags/tag3.xml"/><Relationship Id="rId29" Type="http://schemas.openxmlformats.org/officeDocument/2006/relationships/tags" Target="../tags/tag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916FBAF-3A5A-D883-ACE7-21E4CC5AD0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505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76" imgW="336" imgH="336" progId="TCLayout.ActiveDocument.1">
                  <p:embed/>
                </p:oleObj>
              </mc:Choice>
              <mc:Fallback>
                <p:oleObj name="think-cell Slide" r:id="rId76" imgW="336" imgH="33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16FBAF-3A5A-D883-ACE7-21E4CC5AD0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0" name="Chart 189">
            <a:extLst>
              <a:ext uri="{FF2B5EF4-FFF2-40B4-BE49-F238E27FC236}">
                <a16:creationId xmlns:a16="http://schemas.microsoft.com/office/drawing/2014/main" id="{41FD2C18-C0EC-9255-6FFD-64B51A36526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17604316"/>
              </p:ext>
            </p:extLst>
          </p:nvPr>
        </p:nvGraphicFramePr>
        <p:xfrm>
          <a:off x="577850" y="554038"/>
          <a:ext cx="3309938" cy="471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8"/>
          </a:graphicData>
        </a:graphic>
      </p:graphicFrame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CBB926E-5B01-7BA0-FDAC-DC0FADD9A78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98425" y="3862388"/>
            <a:ext cx="485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1A0E2E-7B66-4D0A-B45E-29CCD6789A72}" type="datetime'Z''''''im''''''''''''b''a''''''''b''we'''''''''''">
              <a:rPr lang="en-US" altLang="en-US" sz="900" smtClean="0"/>
              <a:pPr/>
              <a:t>Zimbabwe</a:t>
            </a:fld>
            <a:endParaRPr lang="en-US" sz="900" dirty="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9107CF2-6E5B-33B2-8C71-5CC80B66133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92113" y="3355975"/>
            <a:ext cx="1920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CB9A47-44C3-4294-8099-48B94B8D9D65}" type="datetime'''''''''U''''''''S''''''''''''''''''''''''''A'''''''''">
              <a:rPr lang="en-US" altLang="en-US" sz="900" smtClean="0"/>
              <a:pPr/>
              <a:t>USA</a:t>
            </a:fld>
            <a:endParaRPr lang="en-US" sz="900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3C1C7AE4-3CA9-4927-4A1D-6027E12689A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22263" y="2851150"/>
            <a:ext cx="2619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5A4AB71-C065-4DB0-AB0A-8B7BDCAB5E55}" type="datetime'''''''C''h''''i''''''''n''''''''''''''''''''''''''a'''''''">
              <a:rPr lang="en-US" altLang="en-US" sz="900" smtClean="0"/>
              <a:pPr/>
              <a:t>China</a:t>
            </a:fld>
            <a:endParaRPr lang="en-US" sz="900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0B49702-9B07-6735-306A-0F42E1CB366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30200" y="4368800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C60747-0F58-4BD1-8F38-3EF6DFF81548}" type="datetime'''''Bra''''''''''''''''''''''''''''''''''zi''''''''l'''''''">
              <a:rPr lang="en-US" altLang="en-US" sz="900" smtClean="0"/>
              <a:pPr/>
              <a:t>Brazil</a:t>
            </a:fld>
            <a:endParaRPr lang="en-US" sz="900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2425" y="827088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51B0D7F-1799-42E1-8B65-BB22F31619AC}" type="datetime'''''''C''''''''''h''i''''''''le'">
              <a:rPr lang="en-US" altLang="en-US" sz="900" smtClean="0"/>
              <a:pPr/>
              <a:t>Chile</a:t>
            </a:fld>
            <a:endParaRPr lang="en-US" sz="900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73038" y="1333500"/>
            <a:ext cx="4111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A8B149-FEE8-46A3-B8DD-C325EF1935A5}" type="datetime'''''''''A''''u''st''''''r''a''l''''''''i''''''''a'''''''''''">
              <a:rPr lang="en-US" altLang="en-US" sz="900" smtClean="0"/>
              <a:pPr/>
              <a:t>Australia</a:t>
            </a:fld>
            <a:endParaRPr lang="en-US" sz="9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6A9C3A2-611D-9C0B-8C9C-A5337FB1966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92088" y="4873625"/>
            <a:ext cx="3921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29B2763-7FE5-453B-B505-152DC1C63A4B}" type="datetime'''''''''P''''''''''''''o''''rt''''ug''a''l'''''">
              <a:rPr lang="en-US" altLang="en-US" sz="900" smtClean="0"/>
              <a:pPr/>
              <a:t>Portugal</a:t>
            </a:fld>
            <a:endParaRPr lang="en-US" sz="90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8288" y="1838325"/>
            <a:ext cx="315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0276154-5A22-4FA5-9123-F9E7E137CC41}" type="datetime'O''''''t''h''e''''''r''s'''''''''''''''''''''''''''''">
              <a:rPr lang="en-US" altLang="en-US" sz="900" smtClean="0"/>
              <a:pPr/>
              <a:t>Others</a:t>
            </a:fld>
            <a:endParaRPr lang="en-US" sz="9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41388" y="3355975"/>
            <a:ext cx="4032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C4701A-E54B-4559-B20B-E83381B20E27}" type="datetime'750'''''''''''''''''''''''',''''''''''0''''00''''''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50,000</a:t>
            </a:fld>
            <a:endParaRPr lang="en-US" sz="900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009506EA-790F-DFD9-A315-0B45525EB91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7000" y="2344738"/>
            <a:ext cx="4572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21B8B9F-C412-482A-8F00-BCA5DC68FF38}" type="datetime'''''''A''''''''''''''''r''g''e''''''''nt''''''''in''''a'''">
              <a:rPr lang="en-US" altLang="en-US" sz="900" smtClean="0"/>
              <a:pPr/>
              <a:t>Argentina</a:t>
            </a:fld>
            <a:endParaRPr lang="en-US" sz="9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830638" y="827088"/>
            <a:ext cx="488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419AB3-FF55-4509-8494-47BFBDE3E851}" type="datetime'''9'',''''2''0''''''''0,''''''''''''0''''00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,200,000</a:t>
            </a:fld>
            <a:endParaRPr lang="en-US" sz="9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60413" y="3862388"/>
            <a:ext cx="4032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ED46F-B729-4217-A768-25A8E0F6A2CF}" type="datetime'''''2''''''2''''''''''''''0'',0''''0''''''''''''''0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0,000</a:t>
            </a:fld>
            <a:endParaRPr lang="en-US" sz="9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633663" y="1333500"/>
            <a:ext cx="488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887890-D80C-4845-A160-4B640D4B5511}" type="datetime'''''''''''5,''''''7''00'''''''',''''''0''''''00''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,700,000</a:t>
            </a:fld>
            <a:endParaRPr lang="en-US" sz="9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608138" y="1838325"/>
            <a:ext cx="488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C4E3FB-7A4E-424F-8495-A82471D0D1AF}" type="datetime'''2'''''''''''''',''''''''70''0'',''''''''''''000''''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,700,000</a:t>
            </a:fld>
            <a:endParaRPr lang="en-US" sz="9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438275" y="2344738"/>
            <a:ext cx="488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6C02AA-7A33-4B91-BD5B-AFA96A44E89D}" type="datetime'''2'''''''',''''''2''0''''''0'''',''''0''''''''''''''''''0''0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,200,000</a:t>
            </a:fld>
            <a:endParaRPr lang="en-US" sz="9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198563" y="2851150"/>
            <a:ext cx="48895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FF3128-7949-405C-9181-151A4AD6AAFC}" type="datetime'''1'',500'''''''''''''''',''0''''''''''''''0''''''''''0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,500,000</a:t>
            </a:fld>
            <a:endParaRPr lang="en-US" sz="9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7550" y="4368800"/>
            <a:ext cx="3460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128AAB-960D-4992-B911-735FF8465AA7}" type="datetime'95'''',''''''''''''''00''0''''''''''''''''''''''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95,000</a:t>
            </a:fld>
            <a:endParaRPr lang="en-US" sz="9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06438" y="4873625"/>
            <a:ext cx="3460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1BE642-9446-41EB-A725-5DD5BFE43400}" type="datetime'''''6''''''''''''''''''''''''''''0'''',''0''''''''''0''''''0'">
              <a:rPr lang="en-US" altLang="en-US" sz="900" smtClean="0">
                <a:effectLst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60,000</a:t>
            </a:fld>
            <a:endParaRPr lang="en-US" sz="900" dirty="0"/>
          </a:p>
        </p:txBody>
      </p:sp>
      <p:graphicFrame>
        <p:nvGraphicFramePr>
          <p:cNvPr id="192" name="Chart 191">
            <a:extLst>
              <a:ext uri="{FF2B5EF4-FFF2-40B4-BE49-F238E27FC236}">
                <a16:creationId xmlns:a16="http://schemas.microsoft.com/office/drawing/2014/main" id="{8B58A10D-9213-929C-0C26-3212CC40804F}"/>
              </a:ext>
            </a:extLst>
          </p:cNvPr>
          <p:cNvGraphicFramePr/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379685568"/>
              </p:ext>
            </p:extLst>
          </p:nvPr>
        </p:nvGraphicFramePr>
        <p:xfrm>
          <a:off x="9402763" y="554038"/>
          <a:ext cx="2543175" cy="4718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9"/>
          </a:graphicData>
        </a:graphic>
      </p:graphicFrame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636B35E9-2904-BEC2-D625-1B63DBA9BE9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9155113" y="4368800"/>
            <a:ext cx="2540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7D6098-53D4-4B71-A894-3D529EB1D545}" type="datetime'''''B''''''r''a''''''''''''''z''''''''''''i''''''''''l'''''''">
              <a:rPr lang="en-US" altLang="en-US" sz="900" smtClean="0"/>
              <a:pPr/>
              <a:t>Brazil</a:t>
            </a:fld>
            <a:endParaRPr lang="en-US" sz="900" dirty="0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9F799C98-B7B4-4F95-2260-D6DD570AF3C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9575800" y="4368800"/>
            <a:ext cx="288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90AB37-D67A-43CC-B576-36860A933A41}" type="datetime'''''''1,''''''''''''''''''''''''5''''0''''''''''''0'''''''''">
              <a:rPr lang="en-US" altLang="en-US" sz="900" smtClean="0"/>
              <a:pPr/>
              <a:t>1,500</a:t>
            </a:fld>
            <a:endParaRPr lang="en-US" sz="900" dirty="0"/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565508B5-CD7B-4E8F-1F6E-4C2DA3ACF73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177338" y="827088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4309E3-D292-48F6-9A14-8EF33CED164A}" type="datetime'''''''''C''''''''''''h''''''''''''i''''''''l''''''e'">
              <a:rPr lang="en-US" altLang="en-US" sz="900" smtClean="0"/>
              <a:pPr/>
              <a:t>Chile</a:t>
            </a:fld>
            <a:endParaRPr lang="en-US" sz="900" dirty="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380F0C6B-72EB-DB5E-2C45-AF922D662B8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997950" y="1333500"/>
            <a:ext cx="41116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57FDC9A-E521-4F79-B46C-BE5D48C09169}" type="datetime'''''''''''''A''''''''ust''ra''''''''''''''''''li''''a'">
              <a:rPr lang="en-US" altLang="en-US" sz="900" smtClean="0"/>
              <a:pPr/>
              <a:t>Australia</a:t>
            </a:fld>
            <a:endParaRPr lang="en-US" sz="900" dirty="0"/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E9C02B8-D234-5C1C-454E-E9B06A9E75D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147175" y="2851150"/>
            <a:ext cx="26193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CE0CFF-1F51-48DE-82EF-AE276F90E78E}" type="datetime'C''''''''''''''''''''h''''''''in''''''''''''''''''''''''''a'">
              <a:rPr lang="en-US" altLang="en-US" sz="900" smtClean="0"/>
              <a:pPr/>
              <a:t>China</a:t>
            </a:fld>
            <a:endParaRPr lang="en-US" sz="900" dirty="0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FF5A9DD4-37A9-342E-1BDF-AACA16615A0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093200" y="1838325"/>
            <a:ext cx="3159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DAE607-5BDF-408F-AB71-081717718727}" type="datetime'''''''O''''th''''''e''''''r''s'''''''">
              <a:rPr lang="en-US" altLang="en-US" sz="900" smtClean="0"/>
              <a:pPr/>
              <a:t>Others</a:t>
            </a:fld>
            <a:endParaRPr lang="en-US" sz="900" dirty="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C6DD20C7-992F-5DAD-3176-E5B2263C840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951913" y="2344738"/>
            <a:ext cx="4572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3AFF07A-DB5F-48B7-B5A6-DD4344FC5659}" type="datetime'''''''A''''r''g''''e''''n''t''''''''''''''i''n''''a'''">
              <a:rPr lang="en-US" altLang="en-US" sz="900" smtClean="0"/>
              <a:pPr/>
              <a:t>Argentina</a:t>
            </a:fld>
            <a:endParaRPr lang="en-US" sz="900" dirty="0"/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7EAC505F-F8B8-E9D3-7A2C-56108A18945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217025" y="3355975"/>
            <a:ext cx="192088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B43619-3C7D-4D6B-8A68-746BBD4FB3C7}" type="datetime'''''''''''''''U''''''''''''''''''''''''S''''''''''A'''">
              <a:rPr lang="en-US" altLang="en-US" sz="900" smtClean="0"/>
              <a:pPr/>
              <a:t>USA</a:t>
            </a:fld>
            <a:endParaRPr lang="en-US" sz="900" dirty="0"/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4ECD559C-30B2-659F-8D72-ED33C9D331C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923338" y="3862388"/>
            <a:ext cx="485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DD8003-0E39-4BA6-A771-FC44BC5BA65B}" type="datetime'''''''Z''''''i''''''''''''''''m''''''''''bab''''''''w''e'">
              <a:rPr lang="en-US" altLang="en-US" sz="900" smtClean="0"/>
              <a:pPr/>
              <a:t>Zimbabwe</a:t>
            </a:fld>
            <a:endParaRPr lang="en-US" sz="9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D2C486A-B765-23C5-4C32-BC86D9398317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17000" y="4873625"/>
            <a:ext cx="392113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3BF451-5D92-44B8-834B-764525BD07B4}" type="datetime'''''''''''''''''P''''''o''''''''rt''''''u''g''''''a''''l'''''">
              <a:rPr lang="en-US" altLang="en-US" sz="900" smtClean="0"/>
              <a:pPr/>
              <a:t>Portugal</a:t>
            </a:fld>
            <a:endParaRPr lang="en-US" sz="900" dirty="0"/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0229837A-0145-7AF1-30C7-DAE71B4DC949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634663" y="827088"/>
            <a:ext cx="3460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04B53F-52A5-4EFF-8D2C-49537A178A25}" type="datetime'''''''''2''6'''''''''''''''''''''''''''''',''0''00'''">
              <a:rPr lang="en-US" altLang="en-US" sz="900" smtClean="0"/>
              <a:pPr/>
              <a:t>26,000</a:t>
            </a:fld>
            <a:endParaRPr lang="en-US" sz="900" dirty="0"/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3D4E2AD1-34CD-C8CD-A3D9-059F97F7D65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1888788" y="1333500"/>
            <a:ext cx="3460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4A812EB-E4EF-4FDA-85D3-29745D7EA9AF}" type="datetime'5''''''''''''5'''',''''''''''''00''''''''''''''''''''''0'">
              <a:rPr lang="en-US" altLang="en-US" sz="900" smtClean="0"/>
              <a:pPr/>
              <a:t>55,000</a:t>
            </a:fld>
            <a:endParaRPr lang="en-US" sz="900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88BA6DFA-5FE4-14CE-5AB0-91DDCEDA588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510713" y="1838325"/>
            <a:ext cx="88900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678EBB3-CD78-4C99-AE87-4001C6EB45C6}" type="datetime'''''''''''''''''''''''0'''''''''''''''''''''''''''''''''''''">
              <a:rPr lang="en-US" altLang="en-US" sz="900" smtClean="0"/>
              <a:pPr/>
              <a:t>0</a:t>
            </a:fld>
            <a:endParaRPr lang="en-US" sz="900" dirty="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D94EDF6E-55CA-749C-AEFD-4211638A571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9779000" y="2344738"/>
            <a:ext cx="288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524F00-A4D3-43B4-BE0F-672599AECFF4}" type="datetime'''''''6,''''''''''''2''''''''''''''''''''''''0''''''''''''''0'">
              <a:rPr lang="en-US" altLang="en-US" sz="900" smtClean="0"/>
              <a:pPr/>
              <a:t>6,200</a:t>
            </a:fld>
            <a:endParaRPr lang="en-US" sz="900" dirty="0"/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C8752A67-0B6E-ADFA-2960-6DB66925CFAD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10115550" y="2851150"/>
            <a:ext cx="3460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CE32CF-7006-4234-A26A-3E8949953CDD}" type="datetime'''''1''''''''''4'''''''''''''''',0''''''''''00'''''''''">
              <a:rPr lang="en-US" altLang="en-US" sz="900" smtClean="0"/>
              <a:pPr/>
              <a:t>14,000</a:t>
            </a:fld>
            <a:endParaRPr lang="en-US" sz="9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173B2091-5B91-2DF1-112B-00598D1E21D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563100" y="3862388"/>
            <a:ext cx="2889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A2AD88A-DFF6-4178-801E-0456C273AD6C}" type="datetime'''1'''''''''''''''',''''''''''''''''''''''''''''''20''0'''''">
              <a:rPr lang="en-US" altLang="en-US" sz="900" smtClean="0"/>
              <a:pPr/>
              <a:t>1,200</a:t>
            </a:fld>
            <a:endParaRPr lang="en-US" sz="900" dirty="0"/>
          </a:p>
        </p:txBody>
      </p:sp>
      <p:graphicFrame>
        <p:nvGraphicFramePr>
          <p:cNvPr id="195" name="Chart 194">
            <a:extLst>
              <a:ext uri="{FF2B5EF4-FFF2-40B4-BE49-F238E27FC236}">
                <a16:creationId xmlns:a16="http://schemas.microsoft.com/office/drawing/2014/main" id="{090DB04D-B440-7A2B-BCA7-AE901E5D1C86}"/>
              </a:ext>
            </a:extLst>
          </p:cNvPr>
          <p:cNvGraphicFramePr/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4078894694"/>
              </p:ext>
            </p:extLst>
          </p:nvPr>
        </p:nvGraphicFramePr>
        <p:xfrm>
          <a:off x="4867275" y="649288"/>
          <a:ext cx="3309938" cy="5983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0"/>
          </a:graphicData>
        </a:graphic>
      </p:graphicFrame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EB6ADF79-CF42-2009-D243-7309AAAB65E7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410200" y="3025775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81318C-CDB7-4C6A-92DA-E4A06F4968CD}" type="datetime'2'''',9''''''''''''''''''00'''''',''''0''''''''''00'''''">
              <a:rPr lang="en-US" altLang="en-US" sz="1000" smtClean="0"/>
              <a:pPr/>
              <a:t>2,900,000</a:t>
            </a:fld>
            <a:endParaRPr lang="en-US" sz="1000" dirty="0"/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86722195-C8AA-355B-1D2E-73D76DEB4A6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524375" y="844550"/>
            <a:ext cx="3397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413A420-AEC0-4306-A1DE-7D27C6A19FDC}" type="datetime'''''''''B''o''''''''''''li''''''''''''''''''''v''i''a'''''">
              <a:rPr lang="en-US" altLang="en-US" sz="1000" smtClean="0"/>
              <a:pPr/>
              <a:t>Bolivia</a:t>
            </a:fld>
            <a:endParaRPr lang="en-US" sz="1000" dirty="0"/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C7D83368-8ECD-E138-80F9-FC5BE0825B3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391025" y="3390900"/>
            <a:ext cx="4730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873CDA-6D2C-4167-84E5-758F2746D688}" type="datetime'''''G''e''''''r''''ma''''''''''''''''n''''''''y'''''''''''''">
              <a:rPr lang="en-US" altLang="en-US" sz="1000" smtClean="0"/>
              <a:pPr/>
              <a:t>Germany</a:t>
            </a:fld>
            <a:endParaRPr lang="en-US" sz="1000" dirty="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467E0AE5-1BA7-C59B-139D-6B300F8A52C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357688" y="1208088"/>
            <a:ext cx="5064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ED9423C-030E-4A5D-B506-9E8C74CC2DA1}" type="datetime'''''''Ar''''''''''''g''''e''''nt''i''''''n''a'''''">
              <a:rPr lang="en-US" altLang="en-US" sz="1000" smtClean="0"/>
              <a:pPr/>
              <a:t>Argentina</a:t>
            </a:fld>
            <a:endParaRPr lang="en-US" sz="1000" dirty="0"/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67664CA1-E184-12DA-32A2-1F33DE7510E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649788" y="2662238"/>
            <a:ext cx="2143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E2CC80-FAF9-4062-938A-23B580C28AA7}" type="datetime'''''''''''''''''''D''''R''''''''''''''''''''''C'''''''''''''">
              <a:rPr lang="en-US" altLang="en-US" sz="1000" smtClean="0"/>
              <a:pPr/>
              <a:t>DRC</a:t>
            </a:fld>
            <a:endParaRPr lang="en-US" sz="1000" dirty="0"/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7A40B6BE-39D7-8FD3-EE9D-847E4324C01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6442075" y="1571625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AF661-DAC2-4A09-9010-488A1F9E31B7}" type="datetime'''9'',''''''''8''''''''''00,''''''''''''''''00''0'''''">
              <a:rPr lang="en-US" altLang="en-US" sz="1000" smtClean="0"/>
              <a:pPr/>
              <a:t>9,800,000</a:t>
            </a:fld>
            <a:endParaRPr lang="en-US" sz="10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6DBCDDE6-A6A5-B451-56AE-7B8BD75AD882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541838" y="4845050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08F8393-6270-4634-8DEC-45A70C82F45A}" type="datetime'''''''''''''''''''R''''''''u''''ss''ia'''''''''">
              <a:rPr lang="en-US" altLang="en-US" sz="1000" smtClean="0"/>
              <a:pPr/>
              <a:t>Russia</a:t>
            </a:fld>
            <a:endParaRPr lang="en-US" sz="10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5F967B58-1DDD-AB27-9871-6FBD53161B8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4573588" y="2298700"/>
            <a:ext cx="2905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26A249-50B7-40D6-AFFF-A7024DDC2851}" type="datetime'C''''''h''''''''''''''i''''n''''''''a'''''''''''''''''''''">
              <a:rPr lang="en-US" altLang="en-US" sz="1000" smtClean="0"/>
              <a:pPr/>
              <a:t>China</a:t>
            </a:fld>
            <a:endParaRPr lang="en-US" sz="1000" dirty="0"/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65D7DB53-9352-1A13-DB26-14CB13B1C75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410075" y="1935163"/>
            <a:ext cx="4540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9A17B33-FDA8-468E-85FC-4C7C4D0662BB}" type="datetime'Aust''''''r''''''''''a''''li''''''''''''''''''''''''''''a'''''">
              <a:rPr lang="en-US" altLang="en-US" sz="1000" smtClean="0"/>
              <a:pPr/>
              <a:t>Australia</a:t>
            </a:fld>
            <a:endParaRPr lang="en-US" sz="1000" dirty="0"/>
          </a:p>
        </p:txBody>
      </p:sp>
      <p:sp>
        <p:nvSpPr>
          <p:cNvPr id="159" name="Text Placeholder 2">
            <a:extLst>
              <a:ext uri="{FF2B5EF4-FFF2-40B4-BE49-F238E27FC236}">
                <a16:creationId xmlns:a16="http://schemas.microsoft.com/office/drawing/2014/main" id="{093EEE66-1051-F809-34FB-A1BFCF7F9FE0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120063" y="844550"/>
            <a:ext cx="619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D08BCB-1509-4D71-9539-2B289D2C6B14}" type="datetime'''21,''0''''''''''0''''''''''''0'',''''''00''''0'''''''''''">
              <a:rPr lang="en-US" altLang="en-US" sz="1000" smtClean="0"/>
              <a:pPr/>
              <a:t>21,000,000</a:t>
            </a:fld>
            <a:endParaRPr lang="en-US" sz="1000" dirty="0"/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FF713C05-EA69-6083-2D49-1E54E72ADAE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481513" y="3025775"/>
            <a:ext cx="382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108FD7-3B5C-4612-8E49-9C658CA1A976}" type="datetime'''''''C''''''''''''''''''a''n''a''d''''''''''''a'''''''">
              <a:rPr lang="en-US" altLang="en-US" sz="1000" smtClean="0"/>
              <a:pPr/>
              <a:t>Canada</a:t>
            </a:fld>
            <a:endParaRPr lang="en-US" sz="1000" dirty="0"/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34DD69DC-EE8D-E647-1E9C-EA973C73A8B9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87863" y="3754438"/>
            <a:ext cx="3762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68B3013-FD96-4085-ABD0-8B9DD17B4B9F}" type="datetime'''M''''''''''e''''x''''''''''''''''ic''''''''''''''''o'''''">
              <a:rPr lang="en-US" altLang="en-US" sz="1000" smtClean="0"/>
              <a:pPr/>
              <a:t>Mexico</a:t>
            </a:fld>
            <a:endParaRPr lang="en-US" sz="1000" dirty="0"/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2648FF50-B040-EF5E-B5F9-0041695DD10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181600" y="6299200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271455-DF5A-46C5-B6B0-3F31B42B2B55}" type="datetime'1,''''3''''''8''''''''''0,''''''''''''0''''''''''''00'''">
              <a:rPr lang="en-US" altLang="en-US" sz="1000" smtClean="0"/>
              <a:pPr/>
              <a:t>1,380,000</a:t>
            </a:fld>
            <a:endParaRPr lang="en-US" sz="1000" dirty="0"/>
          </a:p>
        </p:txBody>
      </p:sp>
      <p:sp>
        <p:nvSpPr>
          <p:cNvPr id="138" name="Text Placeholder 2">
            <a:extLst>
              <a:ext uri="{FF2B5EF4-FFF2-40B4-BE49-F238E27FC236}">
                <a16:creationId xmlns:a16="http://schemas.microsoft.com/office/drawing/2014/main" id="{02ACDE5D-DC9B-102D-B1F9-70D05924895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471988" y="4117975"/>
            <a:ext cx="3921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5127CA-1FBE-4CF5-8C5E-F1ECB88C7CAC}" type="datetime'''''''''''''''''C''''z''''ec''h''''''''''i''''''''''''a'''">
              <a:rPr lang="en-US" altLang="en-US" sz="1000" smtClean="0"/>
              <a:pPr/>
              <a:t>Czechia</a:t>
            </a:fld>
            <a:endParaRPr lang="en-US" sz="1000" dirty="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DA95C604-B1F5-56A4-E4E6-68D97246E4B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541838" y="4481513"/>
            <a:ext cx="3222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5B957D-DE65-4DC5-9A38-F36CF39DB003}" type="datetime'''S''''e''''''''r''''b''''''''i''''a'">
              <a:rPr lang="en-US" altLang="en-US" sz="1000" smtClean="0"/>
              <a:pPr/>
              <a:t>Serbia</a:t>
            </a:fld>
            <a:endParaRPr lang="en-US" sz="1000" dirty="0"/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1BD0ADE5-02F0-C287-B903-C1E93768F1A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608513" y="1571625"/>
            <a:ext cx="25558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073723-FD3D-4809-AC61-74AF3C0AFB02}" type="datetime'''''''''''''''C''''h''''i''l''''''''''e'''''''''">
              <a:rPr lang="en-US" altLang="en-US" sz="1000" smtClean="0"/>
              <a:pPr/>
              <a:t>Chile</a:t>
            </a:fld>
            <a:endParaRPr lang="en-US" sz="1000" dirty="0"/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0126FB13-1077-F25F-AE16-142F55C873C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5080000" y="5572125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1C85615-7700-41BF-8101-BECBB4B2D239}" type="datetime'''''''''70''0'''''''''',''''''''''''''''''''0''''''''''0''0'">
              <a:rPr lang="en-US" altLang="en-US" sz="1000" smtClean="0"/>
              <a:pPr/>
              <a:t>700,000</a:t>
            </a:fld>
            <a:endParaRPr lang="en-US" sz="1000" dirty="0"/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2B626E45-A35F-820B-ABDA-56AA12AC47C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5154613" y="4481513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10F958-761F-4D89-91AE-325B5E240CB3}" type="datetime'''''1'''''''',''''''2''''''00'''''',''00''''''0'''''''''''">
              <a:rPr lang="en-US" altLang="en-US" sz="1000" smtClean="0"/>
              <a:pPr/>
              <a:t>1,200,000</a:t>
            </a:fld>
            <a:endParaRPr lang="en-US" sz="1000" dirty="0"/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AD7F8C5E-F23C-7358-58B5-7707F27E82D3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049838" y="5935663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64D69B7-FC58-49FC-816C-8F5E818C124B}" type="datetime'''''''''''''50''''''0'''''',''''0''''''''''''''''''0''0'">
              <a:rPr lang="en-US" altLang="en-US" sz="1000" smtClean="0"/>
              <a:pPr/>
              <a:t>500,000</a:t>
            </a:fld>
            <a:endParaRPr lang="en-US" sz="1000" dirty="0"/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D5D52A4D-E3AA-9C3E-B6B5-2400BEA2B05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229225" y="3754438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6A44661-E034-4413-95C3-52E9BCE505BC}" type="datetime'1,''''''''''''''''''70''''''''0'''',''00''''''''''''''0'">
              <a:rPr lang="en-US" altLang="en-US" sz="1000" smtClean="0"/>
              <a:pPr/>
              <a:t>1,700,000</a:t>
            </a:fld>
            <a:endParaRPr lang="en-US" sz="1000" dirty="0"/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BA23F510-12A2-97BE-E581-F9D1179FA75E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820025" y="1208088"/>
            <a:ext cx="6191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961C83-156C-49E6-9D07-63EC0F86F8DF}" type="datetime'''''''''''19,0''''''''0''''''''''0,0''0''''0'''''''''">
              <a:rPr lang="en-US" altLang="en-US" sz="1000" smtClean="0"/>
              <a:pPr/>
              <a:t>19,000,000</a:t>
            </a:fld>
            <a:endParaRPr lang="en-US" sz="1000" dirty="0"/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7EE1E7AF-C110-FAD8-6CE5-A828C26F22A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069013" y="1935163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F1E8F3-C57C-4251-8BD3-DF366DAC9A06}" type="datetime'''7,''''3''''''0''''0'''''',''0''''00'''''''''''''''''''''''">
              <a:rPr lang="en-US" altLang="en-US" sz="1000" smtClean="0"/>
              <a:pPr/>
              <a:t>7,300,000</a:t>
            </a:fld>
            <a:endParaRPr lang="en-US" sz="1000" dirty="0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66B887C6-06CD-1ADD-C879-DA3F0334C392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738813" y="2298700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43B198-E523-4C88-B49C-AE0F8B7F63B4}" type="datetime'5,''10''0'''''''''''',''''''''''''''''''''''0''''00'''">
              <a:rPr lang="en-US" altLang="en-US" sz="1000" smtClean="0"/>
              <a:pPr/>
              <a:t>5,100,000</a:t>
            </a:fld>
            <a:endParaRPr lang="en-US" sz="1000" dirty="0"/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277A1BDC-9BB1-9E49-B066-1FAAFFC3C079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124450" y="4845050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0AD753-0018-4552-B62C-89A974D74B4D}" type="datetime'''''''''1,0''0''''0,''''''''''''''00''''0'''''''">
              <a:rPr lang="en-US" altLang="en-US" sz="1000" smtClean="0"/>
              <a:pPr/>
              <a:t>1,000,000</a:t>
            </a:fld>
            <a:endParaRPr lang="en-US" sz="1000" dirty="0"/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D46CE77A-C16E-A3A1-F350-05E47F8C3992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5424488" y="2662238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0AF52D-EAD1-4D9F-9212-7FEE49F283E5}" type="datetime'''3'''''''',''''''0''0''''0'',''''00''0'''''">
              <a:rPr lang="en-US" altLang="en-US" sz="1000" smtClean="0"/>
              <a:pPr/>
              <a:t>3,000,000</a:t>
            </a:fld>
            <a:endParaRPr lang="en-US" sz="1000" dirty="0"/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89BF60B0-1824-3AF5-B893-A052861CCEE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106988" y="5208588"/>
            <a:ext cx="4572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163EAB8-B559-400E-BFF0-104C9410167B}" type="datetime'''8''8''''''''0'''''''',''''''''''0''0''''''0'''''''''">
              <a:rPr lang="en-US" altLang="en-US" sz="1000" smtClean="0"/>
              <a:pPr/>
              <a:t>880,000</a:t>
            </a:fld>
            <a:endParaRPr lang="en-US" sz="1000" dirty="0"/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7E7F685A-6E5E-4EBC-68C2-2BADAB757CB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5380038" y="3390900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01A248-F26B-4209-8FA7-064FE0B82A81}" type="datetime'''''''''''''''''2,''''''''''7''''''''00,0''''''0''0'''''''">
              <a:rPr lang="en-US" altLang="en-US" sz="1000" smtClean="0"/>
              <a:pPr/>
              <a:t>2,700,000</a:t>
            </a:fld>
            <a:endParaRPr lang="en-US" sz="1000" dirty="0"/>
          </a:p>
        </p:txBody>
      </p:sp>
      <p:sp>
        <p:nvSpPr>
          <p:cNvPr id="168" name="Text Placeholder 2">
            <a:extLst>
              <a:ext uri="{FF2B5EF4-FFF2-40B4-BE49-F238E27FC236}">
                <a16:creationId xmlns:a16="http://schemas.microsoft.com/office/drawing/2014/main" id="{E94D3333-64AE-429B-4D7C-BE13A2E8444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170488" y="4117975"/>
            <a:ext cx="5540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324A33-C891-4FA2-94A9-6B63E3D72446}" type="datetime'''''''''1'''',''''30''''''''''''0'''',''00''''0'''''">
              <a:rPr lang="en-US" altLang="en-US" sz="1000" smtClean="0"/>
              <a:pPr/>
              <a:t>1,300,000</a:t>
            </a:fld>
            <a:endParaRPr lang="en-US" sz="1000" dirty="0"/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A74CBFEE-A0E4-8E26-4E59-C27712998857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638675" y="5572125"/>
            <a:ext cx="2254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81A06C6-8FF6-47A4-8F70-129222D8E980}" type="datetime'''M''''''al''''i'''''''''''''''''''''''''">
              <a:rPr lang="en-US" altLang="en-US" sz="1000" smtClean="0"/>
              <a:pPr/>
              <a:t>Mali</a:t>
            </a:fld>
            <a:endParaRPr lang="en-US" sz="1000" dirty="0"/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D7E6DA06-C598-4651-9A0D-A65DD799AC3D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4327525" y="5935663"/>
            <a:ext cx="5365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0081333-50E7-4C0D-8760-5BE4EC0E7564}" type="datetime'Z''''''i''''''m''''ba''''''bw''''''''e'''''''''''">
              <a:rPr lang="en-US" altLang="en-US" sz="1000" smtClean="0"/>
              <a:pPr/>
              <a:t>Zimbabwe</a:t>
            </a:fld>
            <a:endParaRPr lang="en-US" sz="1000" dirty="0"/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60F8C64F-3D4F-3CC4-3C20-406E63CAB852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513263" y="6299200"/>
            <a:ext cx="3508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D9B8D9-FCE9-4334-BE0D-3AEFD3CAE995}" type="datetime'O''''''''''''''''''t''h''e''r''''''''''''''''s'">
              <a:rPr lang="en-US" altLang="en-US" sz="1000" smtClean="0"/>
              <a:pPr/>
              <a:t>Others</a:t>
            </a:fld>
            <a:endParaRPr lang="en-US" sz="1000" dirty="0"/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7ADCCC22-2FFD-4AF9-4DB9-C5A82EE22EF1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4624388" y="5208588"/>
            <a:ext cx="2397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557B14-0336-44C9-9368-1940CDF5517A}" type="datetime'''''''''''''''''P''''''''''''e''''''''''''''''r''''u'">
              <a:rPr lang="en-US" altLang="en-US" sz="1000" smtClean="0"/>
              <a:pPr/>
              <a:t>Peru</a:t>
            </a:fld>
            <a:endParaRPr lang="en-US" sz="1000" dirty="0"/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660400" y="373064"/>
            <a:ext cx="3144838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Global Reserves</a:t>
            </a:r>
            <a:endParaRPr lang="en-US" sz="1400" b="1" dirty="0"/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949825" y="468314"/>
            <a:ext cx="3144838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Global Resource</a:t>
            </a:r>
            <a:endParaRPr lang="en-US" sz="1400" b="1" dirty="0"/>
          </a:p>
        </p:txBody>
      </p: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023CB8B2-9C56-AF65-91C6-FFF32F7926F0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9485313" y="373064"/>
            <a:ext cx="23780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71438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b="1" dirty="0">
                <a:effectLst/>
              </a:rPr>
              <a:t>2021 production</a:t>
            </a:r>
            <a:endParaRPr lang="en-US" sz="1400" b="1" dirty="0"/>
          </a:p>
        </p:txBody>
      </p:sp>
      <p:sp>
        <p:nvSpPr>
          <p:cNvPr id="211" name="Oval 210">
            <a:extLst>
              <a:ext uri="{FF2B5EF4-FFF2-40B4-BE49-F238E27FC236}">
                <a16:creationId xmlns:a16="http://schemas.microsoft.com/office/drawing/2014/main" id="{57DF61DC-0BF1-E4C1-FF41-98E87F62308D}"/>
              </a:ext>
            </a:extLst>
          </p:cNvPr>
          <p:cNvSpPr/>
          <p:nvPr/>
        </p:nvSpPr>
        <p:spPr>
          <a:xfrm>
            <a:off x="55563" y="3754438"/>
            <a:ext cx="604837" cy="3635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Oval 211">
            <a:extLst>
              <a:ext uri="{FF2B5EF4-FFF2-40B4-BE49-F238E27FC236}">
                <a16:creationId xmlns:a16="http://schemas.microsoft.com/office/drawing/2014/main" id="{EFF830C9-28DE-520D-B5BF-C5235C9A73BA}"/>
              </a:ext>
            </a:extLst>
          </p:cNvPr>
          <p:cNvSpPr/>
          <p:nvPr/>
        </p:nvSpPr>
        <p:spPr>
          <a:xfrm>
            <a:off x="8845550" y="3731579"/>
            <a:ext cx="604837" cy="3635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Oval 212">
            <a:extLst>
              <a:ext uri="{FF2B5EF4-FFF2-40B4-BE49-F238E27FC236}">
                <a16:creationId xmlns:a16="http://schemas.microsoft.com/office/drawing/2014/main" id="{92D385E6-3E00-7542-1726-5FA0D15AD50E}"/>
              </a:ext>
            </a:extLst>
          </p:cNvPr>
          <p:cNvSpPr/>
          <p:nvPr/>
        </p:nvSpPr>
        <p:spPr>
          <a:xfrm>
            <a:off x="4286251" y="5822156"/>
            <a:ext cx="604837" cy="36353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039E2D-DD25-8341-5B55-412C6FBF3037}"/>
              </a:ext>
            </a:extLst>
          </p:cNvPr>
          <p:cNvSpPr txBox="1"/>
          <p:nvPr/>
        </p:nvSpPr>
        <p:spPr>
          <a:xfrm>
            <a:off x="8565733" y="6475285"/>
            <a:ext cx="3505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Source: U.S. Geological Survey, Mineral Commodity Summaries, January 2022</a:t>
            </a:r>
          </a:p>
        </p:txBody>
      </p:sp>
    </p:spTree>
    <p:extLst>
      <p:ext uri="{BB962C8B-B14F-4D97-AF65-F5344CB8AC3E}">
        <p14:creationId xmlns:p14="http://schemas.microsoft.com/office/powerpoint/2010/main" val="4944009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AGL.hZ3mGxUK1QznjP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qf6xo4sXnIV7oMEUhz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ET3GSAAvxze1XaPg__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oz6upwvctNHixhAEYR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FwqOC7spgmmCgYyBev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lCzu66PIG0ccEjICNQ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hj_F3603cVT9CU7Asd1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8QwFADP.uTyvoUDb3D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GtvXuMdOFgTPhr0TxK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8QbUkIxwTG6FqkwR1S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b5op5UCKP4ebi4x4CJ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Evy3HSHG9LZpgzEpSw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yYUU9toQRzqcAmvBe8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GOj9Qv17aj1PtQw9YY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QSjskHTAO3MyTM4fpq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msxNlgxo9u4aKYSOls1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DJzxcE6WlIuByNtnCO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GuEkSx5Rff9mYSVr0Z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kvUlGQ9wciqriRfetX2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sngUTUm7NDblaHao77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poBWdpxJVlty.LIiET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3OSQE1HWH.QMc0GiT.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IFlykdDuSY02SiA2AY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9irkwLnt5jtzLl6RCo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NLg_.IKtKfKV9zoBVOv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G43ImlicKsPi7fi.Yl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3k3P5Z0g_IN_mGzrqN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srCMtZKpfEPKVotlCZ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GVLLsYiLAJiTr_NG9r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wR0BxjXGjmvN5OGTyh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Trgv__3pgzaGK5OQMk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z3ARkIapxnlidJOGa2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_bCfuPjymq10Q0hj6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o174k.VOGPqu_7Odtc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iZZIod_avKN10ZBqEn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.Q2xj.MCGoAHVaQOvlR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zo77JQNwtYYq_Zvf2F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iKbyqOmU0XuAPZyhAQ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ghD9Kr8NumqrjjJfKf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Jn0RJEPbR_iOrBOz0pD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mAQ0G89RBoUhZrKNOp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6ukI3ASG1RptaTbmbEv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xVMOmjqR_Bd3wZgrmr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TQtc2Lwa1SGVuoLT1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SxtuNaUwwkOV5PU9dL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ihwJH7KY0C_Q75a1oS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x4lrQDHHr0_ZIqTgrQG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YVBqHhCo26T9HpnSG_S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oG7zvcV_nCqc.Um_xH1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0LnXy.4B.6kkJ_skVd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v_hUe6HR1xYSnnzMDEI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3GvVSMd7_mDRmKp8v0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NIsaB5wn5_i6px9Z5r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rdbDvIU9r6n6BtY6p_r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qj0zmWFHK4OqOskCjQ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nQ10IOhyQWur.QRov1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7RsY99VhRV79Wda3mm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89AZtLt7g92E0vBuIr3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6RkMtODSeLR3o0QVPf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OCsnFBMPO54Q3x9P4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n4oQ17XSu3kZfYzC_V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E1Rk577jE7C8RB6zsG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CWctdoBaGEfF8jxJHB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qqtSxgj6zife6r7Hb_5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bkPwCglHhtREMJ.ApB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53UTPUnjzhiS.irgAv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WhawipnblXP73kgHIN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cCwTxS549AHTj9Mtti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o7D6SmHRP1gpsrHAAo2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WkDnpHZBMuSkm80g0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_u7ACXI37a2_Al5uVg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9BHD4cjRa_rteJL.Q6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88</Words>
  <Application>Microsoft Office PowerPoint</Application>
  <PresentationFormat>Widescreen</PresentationFormat>
  <Paragraphs>71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ibafa, Colin</dc:creator>
  <cp:lastModifiedBy>Chibafa, Colin</cp:lastModifiedBy>
  <cp:revision>2</cp:revision>
  <dcterms:created xsi:type="dcterms:W3CDTF">2023-05-29T10:20:24Z</dcterms:created>
  <dcterms:modified xsi:type="dcterms:W3CDTF">2023-05-31T07:1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f2a5e4-10d8-4dfe-8082-7352c27520cb_Enabled">
    <vt:lpwstr>true</vt:lpwstr>
  </property>
  <property fmtid="{D5CDD505-2E9C-101B-9397-08002B2CF9AE}" pid="3" name="MSIP_Label_e3f2a5e4-10d8-4dfe-8082-7352c27520cb_SetDate">
    <vt:lpwstr>2023-05-29T11:52:35Z</vt:lpwstr>
  </property>
  <property fmtid="{D5CDD505-2E9C-101B-9397-08002B2CF9AE}" pid="4" name="MSIP_Label_e3f2a5e4-10d8-4dfe-8082-7352c27520cb_Method">
    <vt:lpwstr>Standard</vt:lpwstr>
  </property>
  <property fmtid="{D5CDD505-2E9C-101B-9397-08002B2CF9AE}" pid="5" name="MSIP_Label_e3f2a5e4-10d8-4dfe-8082-7352c27520cb_Name">
    <vt:lpwstr>_Official</vt:lpwstr>
  </property>
  <property fmtid="{D5CDD505-2E9C-101B-9397-08002B2CF9AE}" pid="6" name="MSIP_Label_e3f2a5e4-10d8-4dfe-8082-7352c27520cb_SiteId">
    <vt:lpwstr>2864f69d-77c3-4fbe-bbc0-97502052391a</vt:lpwstr>
  </property>
  <property fmtid="{D5CDD505-2E9C-101B-9397-08002B2CF9AE}" pid="7" name="MSIP_Label_e3f2a5e4-10d8-4dfe-8082-7352c27520cb_ActionId">
    <vt:lpwstr>c50cc34e-0819-4ff4-a0ca-73d375aff497</vt:lpwstr>
  </property>
  <property fmtid="{D5CDD505-2E9C-101B-9397-08002B2CF9AE}" pid="8" name="MSIP_Label_e3f2a5e4-10d8-4dfe-8082-7352c27520cb_ContentBits">
    <vt:lpwstr>1</vt:lpwstr>
  </property>
  <property fmtid="{D5CDD505-2E9C-101B-9397-08002B2CF9AE}" pid="9" name="ClassificationContentMarkingHeaderLocations">
    <vt:lpwstr>Office Theme:10</vt:lpwstr>
  </property>
  <property fmtid="{D5CDD505-2E9C-101B-9397-08002B2CF9AE}" pid="10" name="ClassificationContentMarkingHeaderText">
    <vt:lpwstr>[OFFICIAL]</vt:lpwstr>
  </property>
</Properties>
</file>